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6"/>
  </p:notesMasterIdLst>
  <p:sldIdLst>
    <p:sldId id="277" r:id="rId2"/>
    <p:sldId id="632" r:id="rId3"/>
    <p:sldId id="657" r:id="rId4"/>
    <p:sldId id="299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A7B2C5C-0EDA-40E3-AACE-8B188E9EDAAA}">
          <p14:sldIdLst>
            <p14:sldId id="277"/>
            <p14:sldId id="632"/>
            <p14:sldId id="657"/>
            <p14:sldId id="29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04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867" userDrawn="1">
          <p15:clr>
            <a:srgbClr val="A4A3A4"/>
          </p15:clr>
        </p15:guide>
        <p15:guide id="4" pos="7242" userDrawn="1">
          <p15:clr>
            <a:srgbClr val="A4A3A4"/>
          </p15:clr>
        </p15:guide>
        <p15:guide id="5" pos="41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ubhav Bagari" initials="AB" lastIdx="2" clrIdx="0">
    <p:extLst>
      <p:ext uri="{19B8F6BF-5375-455C-9EA6-DF929625EA0E}">
        <p15:presenceInfo xmlns:p15="http://schemas.microsoft.com/office/powerpoint/2012/main" userId="552ee008e41d243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68" autoAdjust="0"/>
    <p:restoredTop sz="95646"/>
  </p:normalViewPr>
  <p:slideViewPr>
    <p:cSldViewPr snapToGrid="0" showGuides="1">
      <p:cViewPr varScale="1">
        <p:scale>
          <a:sx n="122" d="100"/>
          <a:sy n="122" d="100"/>
        </p:scale>
        <p:origin x="728" y="200"/>
      </p:cViewPr>
      <p:guideLst>
        <p:guide orient="horz" pos="4042"/>
        <p:guide pos="3840"/>
        <p:guide orient="horz" pos="867"/>
        <p:guide pos="7242"/>
        <p:guide pos="41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Affordability Index</a:t>
            </a:r>
            <a:endParaRPr lang="en-IN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x loa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Jan '20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Jan '21</c:v>
                </c:pt>
                <c:pt idx="13">
                  <c:v>Feb</c:v>
                </c:pt>
              </c:strCache>
            </c:strRef>
          </c:cat>
          <c:val>
            <c:numRef>
              <c:f>Sheet1!$B$2:$B$15</c:f>
              <c:numCache>
                <c:formatCode>0.00</c:formatCode>
                <c:ptCount val="14"/>
                <c:pt idx="0">
                  <c:v>1.2413488372093022</c:v>
                </c:pt>
                <c:pt idx="1">
                  <c:v>1.1958139534883721</c:v>
                </c:pt>
                <c:pt idx="2">
                  <c:v>1.2384651162790699</c:v>
                </c:pt>
                <c:pt idx="3">
                  <c:v>1.1506976744186046</c:v>
                </c:pt>
                <c:pt idx="4">
                  <c:v>1.1046511627906976</c:v>
                </c:pt>
                <c:pt idx="5">
                  <c:v>1.1046511627906976</c:v>
                </c:pt>
                <c:pt idx="6">
                  <c:v>1.1916790697674418</c:v>
                </c:pt>
                <c:pt idx="7">
                  <c:v>1.241860465116279</c:v>
                </c:pt>
                <c:pt idx="8">
                  <c:v>1.2595348837209301</c:v>
                </c:pt>
                <c:pt idx="9">
                  <c:v>1.1860465116279071</c:v>
                </c:pt>
                <c:pt idx="10">
                  <c:v>1.2209302325581395</c:v>
                </c:pt>
                <c:pt idx="11">
                  <c:v>1.1813953488372093</c:v>
                </c:pt>
                <c:pt idx="12" formatCode="_(* #,##0.00_);_(* \(#,##0.00\);_(* &quot;-&quot;??_);_(@_)">
                  <c:v>1.089413953488372</c:v>
                </c:pt>
                <c:pt idx="13" formatCode="_(* #,##0.00_);_(* \(#,##0.00\);_(* &quot;-&quot;??_);_(@_)">
                  <c:v>1.09523255813953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EDA-4EFD-BA32-6AC1018163E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oan request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Jan '20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Jan '21</c:v>
                </c:pt>
                <c:pt idx="13">
                  <c:v>Feb</c:v>
                </c:pt>
              </c:strCache>
            </c:strRef>
          </c:cat>
          <c:val>
            <c:numRef>
              <c:f>Sheet1!$C$2:$C$15</c:f>
              <c:numCache>
                <c:formatCode>0.00</c:formatCode>
                <c:ptCount val="14"/>
                <c:pt idx="0">
                  <c:v>1</c:v>
                </c:pt>
                <c:pt idx="1">
                  <c:v>0.93813953488372093</c:v>
                </c:pt>
                <c:pt idx="2">
                  <c:v>0.93023255813953487</c:v>
                </c:pt>
                <c:pt idx="3">
                  <c:v>0.86197209302325584</c:v>
                </c:pt>
                <c:pt idx="4">
                  <c:v>0.88372093023255816</c:v>
                </c:pt>
                <c:pt idx="5">
                  <c:v>0.92093023255813955</c:v>
                </c:pt>
                <c:pt idx="6">
                  <c:v>0.95348837209302328</c:v>
                </c:pt>
                <c:pt idx="7">
                  <c:v>0.97674418604651159</c:v>
                </c:pt>
                <c:pt idx="8">
                  <c:v>0.97674418604651159</c:v>
                </c:pt>
                <c:pt idx="9">
                  <c:v>0.93023255813953487</c:v>
                </c:pt>
                <c:pt idx="10">
                  <c:v>0.94418604651162785</c:v>
                </c:pt>
                <c:pt idx="11">
                  <c:v>0.93023255813953487</c:v>
                </c:pt>
                <c:pt idx="12">
                  <c:v>0.90948837209302325</c:v>
                </c:pt>
                <c:pt idx="13">
                  <c:v>0.909534883720930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EDA-4EFD-BA32-6AC1018163E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in loan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Jan '20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Jan '21</c:v>
                </c:pt>
                <c:pt idx="13">
                  <c:v>Feb</c:v>
                </c:pt>
              </c:strCache>
            </c:strRef>
          </c:cat>
          <c:val>
            <c:numRef>
              <c:f>Sheet1!$D$2:$D$15</c:f>
              <c:numCache>
                <c:formatCode>0.00</c:formatCode>
                <c:ptCount val="14"/>
                <c:pt idx="0">
                  <c:v>0.62651162790697679</c:v>
                </c:pt>
                <c:pt idx="1">
                  <c:v>0.61189302325581396</c:v>
                </c:pt>
                <c:pt idx="2">
                  <c:v>0.58474418604651168</c:v>
                </c:pt>
                <c:pt idx="3">
                  <c:v>0.55348837209302326</c:v>
                </c:pt>
                <c:pt idx="4">
                  <c:v>0.68654418604651157</c:v>
                </c:pt>
                <c:pt idx="5">
                  <c:v>0.69767441860465118</c:v>
                </c:pt>
                <c:pt idx="6">
                  <c:v>0.69493953488372096</c:v>
                </c:pt>
                <c:pt idx="7">
                  <c:v>0.6909023255813953</c:v>
                </c:pt>
                <c:pt idx="8">
                  <c:v>0.68353488372093019</c:v>
                </c:pt>
                <c:pt idx="9">
                  <c:v>0.67619534883720933</c:v>
                </c:pt>
                <c:pt idx="10">
                  <c:v>0.6518279069767442</c:v>
                </c:pt>
                <c:pt idx="11">
                  <c:v>0.67209302325581399</c:v>
                </c:pt>
                <c:pt idx="12" formatCode="_(* #,##0.00_);_(* \(#,##0.00\);_(* &quot;-&quot;??_);_(@_)">
                  <c:v>0.67871627906976739</c:v>
                </c:pt>
                <c:pt idx="13" formatCode="_(* #,##0.00_);_(* \(#,##0.00\);_(* &quot;-&quot;??_);_(@_)">
                  <c:v>0.632558139534883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A7D-4CD4-873F-A3840B2DC2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6104816"/>
        <c:axId val="1013107568"/>
      </c:lineChart>
      <c:catAx>
        <c:axId val="306104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3107568"/>
        <c:crosses val="autoZero"/>
        <c:auto val="1"/>
        <c:lblAlgn val="ctr"/>
        <c:lblOffset val="100"/>
        <c:noMultiLvlLbl val="0"/>
      </c:catAx>
      <c:valAx>
        <c:axId val="1013107568"/>
        <c:scaling>
          <c:orientation val="minMax"/>
          <c:max val="2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/>
                  <a:t>Indexed to avg. loan requested in Jan’20</a:t>
                </a:r>
                <a:endParaRPr lang="en-IN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104816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Affordability Gap</a:t>
            </a:r>
            <a:endParaRPr lang="en-IN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 of cases where no lender met requested loan amoun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15</c:f>
              <c:strCache>
                <c:ptCount val="14"/>
                <c:pt idx="0">
                  <c:v>Jan '20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Jan '21</c:v>
                </c:pt>
                <c:pt idx="13">
                  <c:v>Feb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.2666</c:v>
                </c:pt>
                <c:pt idx="1">
                  <c:v>0.28989999999999999</c:v>
                </c:pt>
                <c:pt idx="2">
                  <c:v>0.25180000000000002</c:v>
                </c:pt>
                <c:pt idx="3">
                  <c:v>0.26350000000000001</c:v>
                </c:pt>
                <c:pt idx="4">
                  <c:v>0.28839999999999999</c:v>
                </c:pt>
                <c:pt idx="5">
                  <c:v>0.28120000000000001</c:v>
                </c:pt>
                <c:pt idx="6">
                  <c:v>0.2462</c:v>
                </c:pt>
                <c:pt idx="7">
                  <c:v>0.2208</c:v>
                </c:pt>
                <c:pt idx="8">
                  <c:v>0.2175</c:v>
                </c:pt>
                <c:pt idx="9">
                  <c:v>0.20579999999999998</c:v>
                </c:pt>
                <c:pt idx="10">
                  <c:v>0.20100000000000001</c:v>
                </c:pt>
                <c:pt idx="11">
                  <c:v>0.20610000000000001</c:v>
                </c:pt>
                <c:pt idx="12">
                  <c:v>0.18</c:v>
                </c:pt>
                <c:pt idx="13" formatCode="0%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8F-48A7-9B1F-7D3B255240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2620992"/>
        <c:axId val="292542976"/>
      </c:barChart>
      <c:catAx>
        <c:axId val="15262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2542976"/>
        <c:crosses val="autoZero"/>
        <c:auto val="1"/>
        <c:lblAlgn val="ctr"/>
        <c:lblOffset val="100"/>
        <c:noMultiLvlLbl val="0"/>
      </c:catAx>
      <c:valAx>
        <c:axId val="292542976"/>
        <c:scaling>
          <c:orientation val="minMax"/>
          <c:max val="0.3000000000000000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620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dirty="0"/>
              <a:t>Affordability Index – Self Employed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x loa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Jan '20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Jan '21</c:v>
                </c:pt>
                <c:pt idx="13">
                  <c:v>Feb </c:v>
                </c:pt>
              </c:strCache>
            </c:strRef>
          </c:cat>
          <c:val>
            <c:numRef>
              <c:f>Sheet1!$B$2:$B$15</c:f>
              <c:numCache>
                <c:formatCode>_(* #,##0.00_);_(* \(#,##0.00\);_(* "-"??_);_(@_)</c:formatCode>
                <c:ptCount val="14"/>
                <c:pt idx="0">
                  <c:v>1.1399999999999999</c:v>
                </c:pt>
                <c:pt idx="1">
                  <c:v>0.97072499999999995</c:v>
                </c:pt>
                <c:pt idx="2">
                  <c:v>1.04149</c:v>
                </c:pt>
                <c:pt idx="3">
                  <c:v>0.95250000000000001</c:v>
                </c:pt>
                <c:pt idx="4">
                  <c:v>1.0660000000000001</c:v>
                </c:pt>
                <c:pt idx="5">
                  <c:v>1.1335</c:v>
                </c:pt>
                <c:pt idx="6">
                  <c:v>1.085</c:v>
                </c:pt>
                <c:pt idx="7">
                  <c:v>1.145675</c:v>
                </c:pt>
                <c:pt idx="8">
                  <c:v>1.0960000000000001</c:v>
                </c:pt>
                <c:pt idx="9">
                  <c:v>1.0435000000000001</c:v>
                </c:pt>
                <c:pt idx="10">
                  <c:v>1.038</c:v>
                </c:pt>
                <c:pt idx="11">
                  <c:v>1.1165</c:v>
                </c:pt>
                <c:pt idx="12" formatCode="General">
                  <c:v>1.107</c:v>
                </c:pt>
                <c:pt idx="13" formatCode="General">
                  <c:v>1.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EDA-4EFD-BA32-6AC1018163E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oan request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Jan '20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Jan '21</c:v>
                </c:pt>
                <c:pt idx="13">
                  <c:v>Feb </c:v>
                </c:pt>
              </c:strCache>
            </c:strRef>
          </c:cat>
          <c:val>
            <c:numRef>
              <c:f>Sheet1!$C$2:$C$15</c:f>
              <c:numCache>
                <c:formatCode>_(* #,##0.00_);_(* \(#,##0.00\);_(* "-"??_);_(@_)</c:formatCode>
                <c:ptCount val="14"/>
                <c:pt idx="0">
                  <c:v>1</c:v>
                </c:pt>
                <c:pt idx="1">
                  <c:v>0.8</c:v>
                </c:pt>
                <c:pt idx="2">
                  <c:v>0.88500000000000001</c:v>
                </c:pt>
                <c:pt idx="3">
                  <c:v>0.69499999999999995</c:v>
                </c:pt>
                <c:pt idx="4">
                  <c:v>0.85</c:v>
                </c:pt>
                <c:pt idx="5">
                  <c:v>0.95</c:v>
                </c:pt>
                <c:pt idx="6">
                  <c:v>0.9</c:v>
                </c:pt>
                <c:pt idx="7">
                  <c:v>0.91374999999999995</c:v>
                </c:pt>
                <c:pt idx="8">
                  <c:v>0.875</c:v>
                </c:pt>
                <c:pt idx="9">
                  <c:v>0.85</c:v>
                </c:pt>
                <c:pt idx="10">
                  <c:v>0.85</c:v>
                </c:pt>
                <c:pt idx="11">
                  <c:v>0.9</c:v>
                </c:pt>
                <c:pt idx="12" formatCode="0.00">
                  <c:v>0.90500000000000003</c:v>
                </c:pt>
                <c:pt idx="13" formatCode="0.00">
                  <c:v>0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EDA-4EFD-BA32-6AC1018163E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in loan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15</c:f>
              <c:strCache>
                <c:ptCount val="14"/>
                <c:pt idx="0">
                  <c:v>Jan '20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Jan '21</c:v>
                </c:pt>
                <c:pt idx="13">
                  <c:v>Feb </c:v>
                </c:pt>
              </c:strCache>
            </c:strRef>
          </c:cat>
          <c:val>
            <c:numRef>
              <c:f>Sheet1!$D$2:$D$15</c:f>
              <c:numCache>
                <c:formatCode>_(* #,##0.00_);_(* \(#,##0.00\);_(* "-"??_);_(@_)</c:formatCode>
                <c:ptCount val="14"/>
                <c:pt idx="0">
                  <c:v>0.53671000000000002</c:v>
                </c:pt>
                <c:pt idx="1">
                  <c:v>0.44684000000000001</c:v>
                </c:pt>
                <c:pt idx="2">
                  <c:v>0.42544999999999999</c:v>
                </c:pt>
                <c:pt idx="3">
                  <c:v>0.40849999999999997</c:v>
                </c:pt>
                <c:pt idx="4">
                  <c:v>0.53090499999999996</c:v>
                </c:pt>
                <c:pt idx="5">
                  <c:v>0.60580000000000001</c:v>
                </c:pt>
                <c:pt idx="6">
                  <c:v>0.50449999999999995</c:v>
                </c:pt>
                <c:pt idx="7">
                  <c:v>0.53234499999999996</c:v>
                </c:pt>
                <c:pt idx="8">
                  <c:v>0.5</c:v>
                </c:pt>
                <c:pt idx="9">
                  <c:v>0.46358500000000002</c:v>
                </c:pt>
                <c:pt idx="10">
                  <c:v>0.41414000000000001</c:v>
                </c:pt>
                <c:pt idx="11">
                  <c:v>0.57499999999999996</c:v>
                </c:pt>
                <c:pt idx="12" formatCode="General">
                  <c:v>0.59399999999999997</c:v>
                </c:pt>
                <c:pt idx="13" formatCode="General">
                  <c:v>0.484675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A7D-4CD4-873F-A3840B2DC2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6104816"/>
        <c:axId val="1013107568"/>
      </c:lineChart>
      <c:catAx>
        <c:axId val="306104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3107568"/>
        <c:crosses val="autoZero"/>
        <c:auto val="1"/>
        <c:lblAlgn val="ctr"/>
        <c:lblOffset val="100"/>
        <c:noMultiLvlLbl val="0"/>
      </c:catAx>
      <c:valAx>
        <c:axId val="1013107568"/>
        <c:scaling>
          <c:orientation val="minMax"/>
          <c:max val="2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 sz="1200"/>
                  <a:t>Indexed to avg. loan requested in Jan’20</a:t>
                </a:r>
                <a:endParaRPr lang="en-IN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104816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dirty="0"/>
              <a:t>Affordability Gap – Self</a:t>
            </a:r>
            <a:r>
              <a:rPr lang="en-IN" baseline="0" dirty="0"/>
              <a:t> Employed</a:t>
            </a:r>
            <a:endParaRPr lang="en-IN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 of cases where no lender met requested loan amoun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15</c:f>
              <c:strCache>
                <c:ptCount val="14"/>
                <c:pt idx="0">
                  <c:v>Jan '20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Jan '21</c:v>
                </c:pt>
                <c:pt idx="13">
                  <c:v>Feb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.39369999999999999</c:v>
                </c:pt>
                <c:pt idx="1">
                  <c:v>0.40880000000000005</c:v>
                </c:pt>
                <c:pt idx="2">
                  <c:v>0.30149999999999999</c:v>
                </c:pt>
                <c:pt idx="3">
                  <c:v>0.33500000000000002</c:v>
                </c:pt>
                <c:pt idx="4">
                  <c:v>0.31869999999999998</c:v>
                </c:pt>
                <c:pt idx="5">
                  <c:v>0.33779999999999999</c:v>
                </c:pt>
                <c:pt idx="6">
                  <c:v>0.33899999999999997</c:v>
                </c:pt>
                <c:pt idx="7">
                  <c:v>0.34460000000000002</c:v>
                </c:pt>
                <c:pt idx="8">
                  <c:v>0.30859999999999999</c:v>
                </c:pt>
                <c:pt idx="9">
                  <c:v>0.31900000000000001</c:v>
                </c:pt>
                <c:pt idx="10">
                  <c:v>0.31859999999999999</c:v>
                </c:pt>
                <c:pt idx="11">
                  <c:v>0.248</c:v>
                </c:pt>
                <c:pt idx="12">
                  <c:v>0.27</c:v>
                </c:pt>
                <c:pt idx="13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8F-48A7-9B1F-7D3B255240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2620992"/>
        <c:axId val="292542976"/>
      </c:barChart>
      <c:catAx>
        <c:axId val="15262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2542976"/>
        <c:crosses val="autoZero"/>
        <c:auto val="1"/>
        <c:lblAlgn val="ctr"/>
        <c:lblOffset val="100"/>
        <c:noMultiLvlLbl val="0"/>
      </c:catAx>
      <c:valAx>
        <c:axId val="292542976"/>
        <c:scaling>
          <c:orientation val="minMax"/>
          <c:max val="0.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620992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61D184-5EE8-CF46-9400-6F7C36421C93}" type="datetimeFigureOut">
              <a:rPr lang="en-US" smtClean="0"/>
              <a:t>3/9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811E0B-6A48-8241-B0B6-F83C1111E98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782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811E0B-6A48-8241-B0B6-F83C1111E98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3983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811E0B-6A48-8241-B0B6-F83C1111E98C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43743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5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39816" y="620690"/>
            <a:ext cx="7272808" cy="553912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r">
              <a:lnSpc>
                <a:spcPct val="7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: Paragraph spacing Multiple 0.7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D0C5F31-0DA9-1241-AB46-A9882F6EE8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45" y="2685429"/>
            <a:ext cx="3024275" cy="140964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4C0B310-2EAC-BB4A-9A6B-288B8823EB8C}"/>
              </a:ext>
            </a:extLst>
          </p:cNvPr>
          <p:cNvSpPr txBox="1"/>
          <p:nvPr userDrawn="1"/>
        </p:nvSpPr>
        <p:spPr>
          <a:xfrm>
            <a:off x="2505456" y="1408176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endParaRPr lang="en-US" dirty="0">
              <a:solidFill>
                <a:schemeClr val="bg1"/>
              </a:solidFill>
              <a:latin typeface="DIN Alternate" charset="0"/>
              <a:ea typeface="DIN Alternate" charset="0"/>
              <a:cs typeface="DIN Alternat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24815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Image + Sma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34C57A15-6D5A-EC45-BAD1-5F4DE63CC9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64388">
            <a:off x="9363131" y="5607539"/>
            <a:ext cx="5271454" cy="372507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B153198-471B-5B44-82C0-EBB0D816DF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197123">
            <a:off x="9530519" y="5685453"/>
            <a:ext cx="4587043" cy="3241437"/>
          </a:xfrm>
          <a:prstGeom prst="rect">
            <a:avLst/>
          </a:prstGeom>
        </p:spPr>
      </p:pic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DA4B5BA3-6EC4-4E4D-999D-EBCB7761E9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8887968" cy="6858000"/>
          </a:xfrm>
          <a:prstGeom prst="parallelogram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r">
              <a:defRPr baseline="0"/>
            </a:lvl1pPr>
          </a:lstStyle>
          <a:p>
            <a:r>
              <a:rPr lang="en-US"/>
              <a:t>Place picture here</a:t>
            </a:r>
            <a:r>
              <a:rPr lang="en-US" dirty="0"/>
              <a:t>.</a:t>
            </a:r>
          </a:p>
          <a:p>
            <a:r>
              <a:rPr lang="en-US"/>
              <a:t>Use this slide if photo is mostly light</a:t>
            </a:r>
            <a:r>
              <a:rPr lang="en-US" dirty="0"/>
              <a:t>.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EA7B6EC-DC92-1642-9AFA-7D2AB2F3E7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85448" y="1324149"/>
            <a:ext cx="2743200" cy="4962352"/>
          </a:xfrm>
        </p:spPr>
        <p:txBody>
          <a:bodyPr/>
          <a:lstStyle>
            <a:lvl1pPr marL="92065" indent="0">
              <a:defRPr/>
            </a:lvl1pPr>
          </a:lstStyle>
          <a:p>
            <a:pPr lvl="0"/>
            <a:r>
              <a:rPr lang="en-US" dirty="0"/>
              <a:t>Use this slide if you want to use a big image with a little bit of content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9BE913-359B-D14B-AB58-C863806DCD7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F6EF8A52-99CD-F041-8C6F-34A9C080DB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in content slide. Put your slide title here.</a:t>
            </a:r>
          </a:p>
        </p:txBody>
      </p:sp>
    </p:spTree>
    <p:extLst>
      <p:ext uri="{BB962C8B-B14F-4D97-AF65-F5344CB8AC3E}">
        <p14:creationId xmlns:p14="http://schemas.microsoft.com/office/powerpoint/2010/main" val="12122714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Image + Bi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5632705" cy="6858000"/>
          </a:xfrm>
          <a:prstGeom prst="parallelogram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r">
              <a:defRPr baseline="0"/>
            </a:lvl1pPr>
          </a:lstStyle>
          <a:p>
            <a:r>
              <a:rPr lang="en-US"/>
              <a:t>Place picture here</a:t>
            </a:r>
            <a:r>
              <a:rPr lang="en-US" dirty="0"/>
              <a:t>.</a:t>
            </a:r>
          </a:p>
          <a:p>
            <a:r>
              <a:rPr lang="en-US"/>
              <a:t>Use this slide if photo is mostly light</a:t>
            </a:r>
            <a:r>
              <a:rPr lang="en-US" dirty="0"/>
              <a:t>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57E0549-2062-4B49-A528-D04C1E0C30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617895">
            <a:off x="9363131" y="5607539"/>
            <a:ext cx="5271454" cy="372507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C8F0035-5DE1-6D4B-B69A-C3C768F6C6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860983">
            <a:off x="9530520" y="5685453"/>
            <a:ext cx="4587041" cy="3241437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879979" y="1324149"/>
            <a:ext cx="6048671" cy="4962352"/>
          </a:xfrm>
        </p:spPr>
        <p:txBody>
          <a:bodyPr numCol="2" spcCol="179980"/>
          <a:lstStyle>
            <a:lvl1pPr>
              <a:defRPr baseline="0"/>
            </a:lvl1pPr>
          </a:lstStyle>
          <a:p>
            <a:pPr lvl="0"/>
            <a:r>
              <a:rPr lang="en-US" dirty="0"/>
              <a:t>Use this slide if you want to use an image with content.</a:t>
            </a:r>
          </a:p>
          <a:p>
            <a:pPr lvl="0"/>
            <a:r>
              <a:rPr lang="en-US" dirty="0"/>
              <a:t>Set for two columns, 0.5cm space between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55F8DB-9B04-A343-8760-9746E000308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E7F9742E-75EC-0F4C-B4D6-817A14571C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/>
            </a:lvl1pPr>
          </a:lstStyle>
          <a:p>
            <a:r>
              <a:rPr lang="en-US" dirty="0"/>
              <a:t>Main content slide. Put your slide title here.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6E9EF7B8-CE0B-AA44-BF2E-4F29BF436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84068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Image + Bi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F9000BE4-9BB0-4B4C-A025-E1AD964BCB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64388">
            <a:off x="9363131" y="5607539"/>
            <a:ext cx="5271453" cy="372507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E3321D7-98E4-0647-96F2-ACD8D1459B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197123">
            <a:off x="9530520" y="5685453"/>
            <a:ext cx="4587041" cy="3241437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646334" cy="6858000"/>
          </a:xfrm>
          <a:prstGeom prst="parallelogram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r">
              <a:defRPr baseline="0"/>
            </a:lvl1pPr>
          </a:lstStyle>
          <a:p>
            <a:r>
              <a:rPr lang="en-US"/>
              <a:t>Place picture here</a:t>
            </a:r>
            <a:r>
              <a:rPr lang="en-US" dirty="0"/>
              <a:t>.</a:t>
            </a:r>
          </a:p>
          <a:p>
            <a:r>
              <a:rPr lang="en-US"/>
              <a:t>Use this slide if photo is mostly dark</a:t>
            </a:r>
            <a:r>
              <a:rPr lang="en-US" dirty="0"/>
              <a:t>.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879979" y="1324149"/>
            <a:ext cx="6048671" cy="4962352"/>
          </a:xfrm>
        </p:spPr>
        <p:txBody>
          <a:bodyPr numCol="2" spcCol="179980"/>
          <a:lstStyle>
            <a:lvl1pPr>
              <a:defRPr baseline="0"/>
            </a:lvl1pPr>
          </a:lstStyle>
          <a:p>
            <a:pPr lvl="0"/>
            <a:r>
              <a:rPr lang="en-US" dirty="0"/>
              <a:t>Use this slide if you want to use an image with content.</a:t>
            </a:r>
          </a:p>
          <a:p>
            <a:pPr lvl="0"/>
            <a:r>
              <a:rPr lang="en-US" dirty="0"/>
              <a:t>Set for two columns, 0.5cm space between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21BA80F-48AF-9145-9518-656F2D4CACA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CFD0F8F5-E627-1249-97E8-37A8884DA4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in content slide. Put your slide title here.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C570060-C2AC-7841-87DD-47C1142EE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3589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FF862F0-269C-7948-ACFD-4155B1BCA7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88290">
            <a:off x="9363131" y="5607539"/>
            <a:ext cx="5271454" cy="37250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6DF996E-2E3D-6642-A859-25BCD90D3E6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478035">
            <a:off x="9530519" y="5683526"/>
            <a:ext cx="4587043" cy="324529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266916" y="1700809"/>
            <a:ext cx="9661732" cy="4476155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lvl="0"/>
            <a:r>
              <a:rPr lang="en-US" dirty="0"/>
              <a:t>Click to edit conte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6F1F8F-1D21-AF4B-8839-F3012925490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492" y="5903179"/>
            <a:ext cx="1332546" cy="644922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95A1E6B-A3A5-1846-A2E0-692346F3D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AE6D071-F52C-E841-8E21-69DA07864E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/>
            </a:lvl1pPr>
          </a:lstStyle>
          <a:p>
            <a:r>
              <a:rPr lang="en-US" dirty="0"/>
              <a:t>Main content slide. Put your slide title here.</a:t>
            </a:r>
          </a:p>
        </p:txBody>
      </p:sp>
    </p:spTree>
    <p:extLst>
      <p:ext uri="{BB962C8B-B14F-4D97-AF65-F5344CB8AC3E}">
        <p14:creationId xmlns:p14="http://schemas.microsoft.com/office/powerpoint/2010/main" val="2927851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B3C0F33D-69BB-8949-885C-89096CDB61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64388">
            <a:off x="9363131" y="5607539"/>
            <a:ext cx="5271454" cy="372507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FD5C53B-4A25-474A-B1A4-8BC7124692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197123">
            <a:off x="9530519" y="5685453"/>
            <a:ext cx="4587043" cy="3241437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087938" y="1324148"/>
            <a:ext cx="6840710" cy="1356833"/>
          </a:xfrm>
        </p:spPr>
        <p:txBody>
          <a:bodyPr anchor="ctr" anchorCtr="0"/>
          <a:lstStyle/>
          <a:p>
            <a:pPr lvl="0"/>
            <a:r>
              <a:rPr lang="en-US" dirty="0"/>
              <a:t>Adjust number box towards the left to fit.</a:t>
            </a:r>
          </a:p>
          <a:p>
            <a:pPr lvl="0"/>
            <a:r>
              <a:rPr lang="en-US" dirty="0"/>
              <a:t>Descriptive copy goes here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2640012" y="1324148"/>
            <a:ext cx="2447926" cy="1356833"/>
          </a:xfrm>
          <a:prstGeom prst="parallelogram">
            <a:avLst>
              <a:gd name="adj" fmla="val 0"/>
            </a:avLst>
          </a:prstGeom>
          <a:solidFill>
            <a:schemeClr val="accent1"/>
          </a:solidFill>
        </p:spPr>
        <p:txBody>
          <a:bodyPr wrap="square" lIns="0" tIns="0" rIns="0" anchor="ctr" anchorCtr="0"/>
          <a:lstStyle>
            <a:lvl1pPr algn="ctr">
              <a:defRPr sz="9600">
                <a:solidFill>
                  <a:schemeClr val="bg1"/>
                </a:solidFill>
                <a:latin typeface="Nexa Light" panose="02000000000000000000" pitchFamily="2" charset="0"/>
                <a:ea typeface="Nexa Light" panose="02000000000000000000" pitchFamily="2" charset="0"/>
                <a:cs typeface="Nexa Light" panose="02000000000000000000" pitchFamily="2" charset="0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5087938" y="2852938"/>
            <a:ext cx="6840710" cy="1348523"/>
          </a:xfrm>
        </p:spPr>
        <p:txBody>
          <a:bodyPr anchor="ctr" anchorCtr="0"/>
          <a:lstStyle/>
          <a:p>
            <a:pPr lvl="0"/>
            <a:r>
              <a:rPr lang="en-US" dirty="0"/>
              <a:t>Adjust number box towards the left to fit.</a:t>
            </a:r>
          </a:p>
          <a:p>
            <a:pPr lvl="0"/>
            <a:r>
              <a:rPr lang="en-US" dirty="0"/>
              <a:t>Descriptive copy goes here.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2639352" y="2844626"/>
            <a:ext cx="2448586" cy="1356833"/>
          </a:xfrm>
          <a:prstGeom prst="parallelogram">
            <a:avLst>
              <a:gd name="adj" fmla="val 0"/>
            </a:avLst>
          </a:prstGeom>
          <a:solidFill>
            <a:schemeClr val="accent1"/>
          </a:solidFill>
        </p:spPr>
        <p:txBody>
          <a:bodyPr wrap="square" lIns="0" tIns="0" rIns="0" anchor="ctr" anchorCtr="0"/>
          <a:lstStyle>
            <a:lvl1pPr algn="ctr">
              <a:defRPr sz="9600">
                <a:solidFill>
                  <a:schemeClr val="bg1"/>
                </a:solidFill>
                <a:latin typeface="Nexa Light" panose="02000000000000000000" pitchFamily="2" charset="0"/>
                <a:ea typeface="Nexa Light" panose="02000000000000000000" pitchFamily="2" charset="0"/>
                <a:cs typeface="Nexa Light" panose="02000000000000000000" pitchFamily="2" charset="0"/>
              </a:defRPr>
            </a:lvl1pPr>
          </a:lstStyle>
          <a:p>
            <a:pPr lvl="0"/>
            <a:r>
              <a:rPr lang="en-US"/>
              <a:t>#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5087938" y="4365105"/>
            <a:ext cx="6840710" cy="1356833"/>
          </a:xfrm>
        </p:spPr>
        <p:txBody>
          <a:bodyPr anchor="ctr" anchorCtr="0"/>
          <a:lstStyle/>
          <a:p>
            <a:pPr lvl="0"/>
            <a:r>
              <a:rPr lang="en-US" dirty="0"/>
              <a:t>Adjust number box towards the left to fit.</a:t>
            </a:r>
          </a:p>
          <a:p>
            <a:pPr lvl="0"/>
            <a:r>
              <a:rPr lang="en-US" dirty="0"/>
              <a:t>Descriptive copy goes here.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2640012" y="4365105"/>
            <a:ext cx="2447926" cy="1356833"/>
          </a:xfrm>
          <a:prstGeom prst="parallelogram">
            <a:avLst>
              <a:gd name="adj" fmla="val 0"/>
            </a:avLst>
          </a:prstGeom>
          <a:solidFill>
            <a:schemeClr val="accent1"/>
          </a:solidFill>
        </p:spPr>
        <p:txBody>
          <a:bodyPr wrap="square" lIns="0" tIns="0" rIns="0" anchor="ctr" anchorCtr="0"/>
          <a:lstStyle>
            <a:lvl1pPr algn="ctr">
              <a:defRPr sz="9600">
                <a:solidFill>
                  <a:schemeClr val="bg1"/>
                </a:solidFill>
                <a:latin typeface="Nexa Light" panose="02000000000000000000" pitchFamily="2" charset="0"/>
                <a:ea typeface="Nexa Light" panose="02000000000000000000" pitchFamily="2" charset="0"/>
                <a:cs typeface="Nexa Light" panose="02000000000000000000" pitchFamily="2" charset="0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203545D-6CFD-6141-B98B-2EE7D01AFF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492" y="5903179"/>
            <a:ext cx="1332546" cy="64492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DE21409-61A9-DB45-896C-73B7706C1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C6F6C85-6DF7-3049-83BF-29C20BD466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/>
            </a:lvl1pPr>
          </a:lstStyle>
          <a:p>
            <a:r>
              <a:rPr lang="en-US" dirty="0"/>
              <a:t>Main content slide. Put your slide title here.</a:t>
            </a:r>
          </a:p>
        </p:txBody>
      </p:sp>
    </p:spTree>
    <p:extLst>
      <p:ext uri="{BB962C8B-B14F-4D97-AF65-F5344CB8AC3E}">
        <p14:creationId xmlns:p14="http://schemas.microsoft.com/office/powerpoint/2010/main" val="38953076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 Slide Al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4ACC6E2-A1B7-684D-B4ED-C7B6A5EB65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64388">
            <a:off x="9363131" y="5607539"/>
            <a:ext cx="5271453" cy="372507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104707E-04E3-C747-B565-436DCE648F1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197123">
            <a:off x="9530520" y="5685453"/>
            <a:ext cx="4587041" cy="3241437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087938" y="1324148"/>
            <a:ext cx="6840710" cy="1356833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just number box towards the left to fit.</a:t>
            </a:r>
          </a:p>
          <a:p>
            <a:pPr lvl="0"/>
            <a:r>
              <a:rPr lang="en-US" dirty="0"/>
              <a:t>Descriptive copy goes here.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2640012" y="1324148"/>
            <a:ext cx="2447926" cy="1356833"/>
          </a:xfrm>
          <a:prstGeom prst="parallelogram">
            <a:avLst>
              <a:gd name="adj" fmla="val 0"/>
            </a:avLst>
          </a:prstGeom>
          <a:solidFill>
            <a:schemeClr val="accent1"/>
          </a:solidFill>
          <a:effectLst>
            <a:softEdge rad="0"/>
          </a:effectLst>
        </p:spPr>
        <p:txBody>
          <a:bodyPr wrap="square" lIns="0" tIns="0" rIns="0" anchor="ctr" anchorCtr="0"/>
          <a:lstStyle>
            <a:lvl1pPr algn="ctr">
              <a:defRPr sz="9600">
                <a:solidFill>
                  <a:schemeClr val="bg1"/>
                </a:solidFill>
                <a:latin typeface="Nexa Light" panose="02000000000000000000" pitchFamily="2" charset="0"/>
                <a:ea typeface="Nexa Light" panose="02000000000000000000" pitchFamily="2" charset="0"/>
                <a:cs typeface="Nexa Light" panose="02000000000000000000" pitchFamily="2" charset="0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5087938" y="2852938"/>
            <a:ext cx="6840710" cy="1348523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just number box towards the left to fit.</a:t>
            </a:r>
          </a:p>
          <a:p>
            <a:pPr lvl="0"/>
            <a:r>
              <a:rPr lang="en-US" dirty="0"/>
              <a:t>Descriptive copy goes here.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2639352" y="2844626"/>
            <a:ext cx="2448586" cy="1356833"/>
          </a:xfrm>
          <a:prstGeom prst="parallelogram">
            <a:avLst>
              <a:gd name="adj" fmla="val 0"/>
            </a:avLst>
          </a:prstGeom>
          <a:solidFill>
            <a:schemeClr val="accent1"/>
          </a:solidFill>
          <a:effectLst>
            <a:softEdge rad="0"/>
          </a:effectLst>
        </p:spPr>
        <p:txBody>
          <a:bodyPr wrap="square" lIns="0" tIns="0" rIns="0" anchor="ctr" anchorCtr="0"/>
          <a:lstStyle>
            <a:lvl1pPr algn="ctr">
              <a:defRPr sz="9600">
                <a:solidFill>
                  <a:schemeClr val="bg1"/>
                </a:solidFill>
                <a:latin typeface="Nexa Light" panose="02000000000000000000" pitchFamily="2" charset="0"/>
                <a:ea typeface="Nexa Light" panose="02000000000000000000" pitchFamily="2" charset="0"/>
                <a:cs typeface="Nexa Light" panose="02000000000000000000" pitchFamily="2" charset="0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5087938" y="4365105"/>
            <a:ext cx="6840710" cy="1356833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just number box towards the left to fit.</a:t>
            </a:r>
          </a:p>
          <a:p>
            <a:pPr lvl="0"/>
            <a:r>
              <a:rPr lang="en-US" dirty="0"/>
              <a:t>Descriptive copy goes here.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22" hasCustomPrompt="1"/>
          </p:nvPr>
        </p:nvSpPr>
        <p:spPr>
          <a:xfrm>
            <a:off x="2640012" y="4365105"/>
            <a:ext cx="2447926" cy="1356833"/>
          </a:xfrm>
          <a:prstGeom prst="parallelogram">
            <a:avLst>
              <a:gd name="adj" fmla="val 0"/>
            </a:avLst>
          </a:prstGeom>
          <a:solidFill>
            <a:schemeClr val="accent1"/>
          </a:solidFill>
          <a:effectLst>
            <a:softEdge rad="0"/>
          </a:effectLst>
        </p:spPr>
        <p:txBody>
          <a:bodyPr wrap="square" lIns="0" tIns="0" rIns="0" anchor="ctr" anchorCtr="0"/>
          <a:lstStyle>
            <a:lvl1pPr algn="ctr">
              <a:defRPr sz="9600">
                <a:solidFill>
                  <a:schemeClr val="bg1"/>
                </a:solidFill>
                <a:latin typeface="Nexa Light" panose="02000000000000000000" pitchFamily="2" charset="0"/>
                <a:ea typeface="Nexa Light" panose="02000000000000000000" pitchFamily="2" charset="0"/>
                <a:cs typeface="Nexa Light" panose="02000000000000000000" pitchFamily="2" charset="0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E070417-CF78-E247-8DB4-234FAA0F58B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0F8E14BE-918F-A14C-BD78-0806A069E9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in content slide. Put your slide title here.</a:t>
            </a:r>
          </a:p>
        </p:txBody>
      </p:sp>
    </p:spTree>
    <p:extLst>
      <p:ext uri="{BB962C8B-B14F-4D97-AF65-F5344CB8AC3E}">
        <p14:creationId xmlns:p14="http://schemas.microsoft.com/office/powerpoint/2010/main" val="42867742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163206B-2217-C34C-A00F-28E0F30550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617895">
            <a:off x="9363131" y="5607539"/>
            <a:ext cx="5271454" cy="372507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A18940-3B61-E140-888B-8A1E47E4087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860983">
            <a:off x="9530520" y="5685453"/>
            <a:ext cx="4587041" cy="324143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116AAA3-3673-2447-85B7-05A7A31000C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492" y="5903179"/>
            <a:ext cx="1332546" cy="644922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AF99177-8AA3-3040-807D-B392E116F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C71D17A-56E8-5D4A-922E-8D91627A1B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/>
            </a:lvl1pPr>
          </a:lstStyle>
          <a:p>
            <a:r>
              <a:rPr lang="en-US" dirty="0"/>
              <a:t>Main content slide. Put your slide title here.</a:t>
            </a:r>
          </a:p>
        </p:txBody>
      </p:sp>
    </p:spTree>
    <p:extLst>
      <p:ext uri="{BB962C8B-B14F-4D97-AF65-F5344CB8AC3E}">
        <p14:creationId xmlns:p14="http://schemas.microsoft.com/office/powerpoint/2010/main" val="34685305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+ Title Al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014D3D8-A146-5F47-8F57-3DEFA5E22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64388">
            <a:off x="9363131" y="5607539"/>
            <a:ext cx="5271453" cy="37250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FFBE37F-FFD1-BF49-82E6-2D6BCE010E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197123">
            <a:off x="9530520" y="5685453"/>
            <a:ext cx="4587041" cy="3241437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F8D5CA4-F230-F74F-B3C7-A8408511EB0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B31F4EE-0A2D-F54A-8DC1-1D13A2B55D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in content slide. Put your slide title here.</a:t>
            </a:r>
          </a:p>
        </p:txBody>
      </p:sp>
    </p:spTree>
    <p:extLst>
      <p:ext uri="{BB962C8B-B14F-4D97-AF65-F5344CB8AC3E}">
        <p14:creationId xmlns:p14="http://schemas.microsoft.com/office/powerpoint/2010/main" val="37609297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72D9165-9405-8042-B5C2-926E6363EE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88290">
            <a:off x="9363131" y="5607539"/>
            <a:ext cx="5271454" cy="372507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75034A1-8E03-B74A-83FD-3CDF07F438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478035">
            <a:off x="9530519" y="5683526"/>
            <a:ext cx="4587043" cy="324529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5A50D9B-FF7F-A043-9CB3-93DC7447B32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492" y="5903179"/>
            <a:ext cx="1332546" cy="644922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2BA9CD-F8D6-A241-B197-7545C683C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291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l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49F9DFA-995D-AD40-8ED5-00EFD336F4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64388">
            <a:off x="9363131" y="5607539"/>
            <a:ext cx="5271453" cy="372507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0308C91-5010-E548-B7A4-5373781153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197123">
            <a:off x="9530520" y="5685453"/>
            <a:ext cx="4587041" cy="3241437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48F68B7-7BF8-3D47-AAF3-29DD89C8CB1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7370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Pr>
        <a:solidFill>
          <a:schemeClr val="accent5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A74670F-43C4-C84A-9FD6-271E9205F3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22292">
            <a:off x="-222006" y="-2084019"/>
            <a:ext cx="9704934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3B3F277-5EAE-CE4D-9022-D3B7E6A240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356527">
            <a:off x="-10278823" y="-6929627"/>
            <a:ext cx="16602796" cy="11732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39816" y="620690"/>
            <a:ext cx="7272808" cy="553912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r">
              <a:lnSpc>
                <a:spcPct val="7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: Paragraph spacing Multiple 0.7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D0C5F31-0DA9-1241-AB46-A9882F6EE84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45" y="2685429"/>
            <a:ext cx="3024275" cy="140964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4C0B310-2EAC-BB4A-9A6B-288B8823EB8C}"/>
              </a:ext>
            </a:extLst>
          </p:cNvPr>
          <p:cNvSpPr txBox="1"/>
          <p:nvPr userDrawn="1"/>
        </p:nvSpPr>
        <p:spPr>
          <a:xfrm>
            <a:off x="2505456" y="1408176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endParaRPr lang="en-US" dirty="0">
              <a:solidFill>
                <a:schemeClr val="bg1"/>
              </a:solidFill>
              <a:latin typeface="DIN Alternate" charset="0"/>
              <a:ea typeface="DIN Alternate" charset="0"/>
              <a:cs typeface="DIN Alternat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1732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bg>
      <p:bgPr>
        <a:solidFill>
          <a:schemeClr val="accent5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7367" y="2204866"/>
            <a:ext cx="6035797" cy="300760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ctr">
              <a:lnSpc>
                <a:spcPct val="70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nd Slide.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407367" y="5196891"/>
            <a:ext cx="6035797" cy="1256446"/>
          </a:xfrm>
        </p:spPr>
        <p:txBody>
          <a:bodyPr lIns="0" tIns="0" rIns="0" bIns="0">
            <a:noAutofit/>
          </a:bodyPr>
          <a:lstStyle>
            <a:lvl1pPr algn="l">
              <a:defRPr sz="1600" baseline="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600">
                <a:solidFill>
                  <a:schemeClr val="bg1"/>
                </a:solidFill>
              </a:defRPr>
            </a:lvl3pPr>
            <a:lvl4pPr algn="r">
              <a:defRPr sz="1600">
                <a:solidFill>
                  <a:schemeClr val="bg1"/>
                </a:solidFill>
              </a:defRPr>
            </a:lvl4pPr>
            <a:lvl5pPr algn="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any end notes or delete this box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12CC4BB-8B1A-F342-9E23-BCA1DDF87B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7529" y="3003847"/>
            <a:ext cx="3024275" cy="1409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1576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30AFF8B-9BDB-2D4C-B06B-8C60FC54E6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88290">
            <a:off x="9363131" y="5607539"/>
            <a:ext cx="5271454" cy="37250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12C15D5-1479-524A-915F-011E877DDC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478035">
            <a:off x="9530519" y="5683526"/>
            <a:ext cx="4587043" cy="3245292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51586" y="4941168"/>
            <a:ext cx="7472413" cy="11517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 b="1" cap="all" baseline="0">
                <a:solidFill>
                  <a:schemeClr val="bg1"/>
                </a:solidFill>
              </a:defRPr>
            </a:lvl1pPr>
            <a:lvl2pPr marL="457150" indent="0" algn="ctr">
              <a:buNone/>
              <a:defRPr sz="2000"/>
            </a:lvl2pPr>
            <a:lvl3pPr marL="914300" indent="0" algn="ctr">
              <a:buNone/>
              <a:defRPr sz="1800"/>
            </a:lvl3pPr>
            <a:lvl4pPr marL="1371450" indent="0" algn="ctr">
              <a:buNone/>
              <a:defRPr sz="1600"/>
            </a:lvl4pPr>
            <a:lvl5pPr marL="1828601" indent="0" algn="ctr">
              <a:buNone/>
              <a:defRPr sz="1600"/>
            </a:lvl5pPr>
            <a:lvl6pPr marL="2285751" indent="0" algn="ctr">
              <a:buNone/>
              <a:defRPr sz="1600"/>
            </a:lvl6pPr>
            <a:lvl7pPr marL="2742901" indent="0" algn="ctr">
              <a:buNone/>
              <a:defRPr sz="1600"/>
            </a:lvl7pPr>
            <a:lvl8pPr marL="3200052" indent="0" algn="ctr">
              <a:buNone/>
              <a:defRPr sz="1600"/>
            </a:lvl8pPr>
            <a:lvl9pPr marL="3657202" indent="0" algn="ctr">
              <a:buNone/>
              <a:defRPr sz="1600"/>
            </a:lvl9pPr>
          </a:lstStyle>
          <a:p>
            <a:r>
              <a:rPr lang="en-US" dirty="0"/>
              <a:t>This is your sub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6A7FC4F-B084-F04C-ACA5-9C9B7CB9956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3D4A034-FF59-3B4C-B764-7842708920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25297" y="1772311"/>
            <a:ext cx="9741408" cy="3168858"/>
          </a:xfrm>
        </p:spPr>
        <p:txBody>
          <a:bodyPr lIns="0" tIns="0" rIns="0" bIns="0" anchor="ctr">
            <a:noAutofit/>
          </a:bodyPr>
          <a:lstStyle>
            <a:lvl1pPr algn="ctr">
              <a:lnSpc>
                <a:spcPct val="70000"/>
              </a:lnSpc>
              <a:defRPr sz="8000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his is your quote or statement slide.</a:t>
            </a:r>
          </a:p>
        </p:txBody>
      </p:sp>
    </p:spTree>
    <p:extLst>
      <p:ext uri="{BB962C8B-B14F-4D97-AF65-F5344CB8AC3E}">
        <p14:creationId xmlns:p14="http://schemas.microsoft.com/office/powerpoint/2010/main" val="8644794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/Statement Slide">
    <p:bg>
      <p:bgPr>
        <a:solidFill>
          <a:schemeClr val="accent1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F3A0EFAE-32C1-D34E-B082-76DF71F612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617895">
            <a:off x="9363131" y="5607539"/>
            <a:ext cx="5271454" cy="372507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A7E6FFC-7D91-D74C-A219-2D11DC4C135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860983">
            <a:off x="9530520" y="5685453"/>
            <a:ext cx="4587041" cy="324143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842879-6E23-8D43-8EF8-2FC011E3274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194C46D1-7418-CC4C-9E98-A7379AABC7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25297" y="548679"/>
            <a:ext cx="9741408" cy="5616121"/>
          </a:xfrm>
        </p:spPr>
        <p:txBody>
          <a:bodyPr lIns="0" tIns="0" rIns="0" bIns="0" anchor="ctr">
            <a:noAutofit/>
          </a:bodyPr>
          <a:lstStyle>
            <a:lvl1pPr algn="ctr">
              <a:lnSpc>
                <a:spcPct val="70000"/>
              </a:lnSpc>
              <a:defRPr sz="8000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This is your quote or statement slide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11E3DD-6184-D747-A009-C5BC11F3B6EC}"/>
              </a:ext>
            </a:extLst>
          </p:cNvPr>
          <p:cNvSpPr txBox="1"/>
          <p:nvPr userDrawn="1"/>
        </p:nvSpPr>
        <p:spPr>
          <a:xfrm>
            <a:off x="877824" y="347472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endParaRPr lang="en-US" dirty="0">
              <a:solidFill>
                <a:schemeClr val="bg1"/>
              </a:solidFill>
              <a:latin typeface="DIN Alternate" charset="0"/>
              <a:ea typeface="DIN Alternate" charset="0"/>
              <a:cs typeface="DIN Alternate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114A49-0F30-154E-96F0-3E04D998A641}"/>
              </a:ext>
            </a:extLst>
          </p:cNvPr>
          <p:cNvSpPr txBox="1"/>
          <p:nvPr userDrawn="1"/>
        </p:nvSpPr>
        <p:spPr>
          <a:xfrm>
            <a:off x="11850624" y="6583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endParaRPr lang="en-US" dirty="0">
              <a:solidFill>
                <a:schemeClr val="bg1"/>
              </a:solidFill>
              <a:latin typeface="DIN Alternate" charset="0"/>
              <a:ea typeface="DIN Alternate" charset="0"/>
              <a:cs typeface="DIN Alternat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88513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/Statement Slide Alt">
    <p:bg>
      <p:bgPr>
        <a:solidFill>
          <a:schemeClr val="accent6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8370FB1-9F04-BB46-8E12-E8614DD120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88290">
            <a:off x="9363131" y="5607539"/>
            <a:ext cx="5271454" cy="372507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41DBB2B-1E67-0B48-92E9-47E8A3FF05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478035">
            <a:off x="9530519" y="5683526"/>
            <a:ext cx="4587043" cy="32452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25297" y="548679"/>
            <a:ext cx="9741408" cy="5616121"/>
          </a:xfrm>
        </p:spPr>
        <p:txBody>
          <a:bodyPr lIns="0" tIns="0" rIns="0" bIns="0" anchor="ctr">
            <a:noAutofit/>
          </a:bodyPr>
          <a:lstStyle>
            <a:lvl1pPr algn="ctr">
              <a:lnSpc>
                <a:spcPct val="70000"/>
              </a:lnSpc>
              <a:defRPr sz="8000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This is your quote or statement slid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8A7DDE-BCB1-D845-9DBC-284440BB759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0277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+ Title Dark">
    <p:bg>
      <p:bgPr>
        <a:solidFill>
          <a:schemeClr val="tx2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3" y="0"/>
            <a:ext cx="12191999" cy="6858000"/>
          </a:xfrm>
          <a:solidFill>
            <a:schemeClr val="bg2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photo here</a:t>
            </a:r>
            <a:r>
              <a:rPr lang="en-US" dirty="0"/>
              <a:t>.</a:t>
            </a:r>
          </a:p>
          <a:p>
            <a:r>
              <a:rPr lang="en-US"/>
              <a:t>Image dimensions for perfect fit</a:t>
            </a:r>
            <a:r>
              <a:rPr lang="en-US" dirty="0"/>
              <a:t>:</a:t>
            </a:r>
          </a:p>
          <a:p>
            <a:r>
              <a:rPr lang="en-US"/>
              <a:t>33.86cm x 19.05cm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2192002" cy="6858000"/>
          </a:xfrm>
          <a:prstGeom prst="parallelogram">
            <a:avLst>
              <a:gd name="adj" fmla="val 0"/>
            </a:avLst>
          </a:prstGeom>
          <a:solidFill>
            <a:schemeClr val="accent5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algn="ctr">
              <a:lnSpc>
                <a:spcPct val="70000"/>
              </a:lnSpc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Full bleed image with titl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" y="-675456"/>
            <a:ext cx="3384376" cy="589378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US">
                <a:solidFill>
                  <a:srgbClr val="FFFFFF"/>
                </a:solidFill>
                <a:latin typeface="Arial"/>
              </a:rPr>
              <a:t>Image dimensions for perfect fit</a:t>
            </a:r>
            <a:r>
              <a:rPr lang="en-US" dirty="0">
                <a:solidFill>
                  <a:srgbClr val="FFFFFF"/>
                </a:solidFill>
                <a:latin typeface="Arial"/>
              </a:rPr>
              <a:t>:</a:t>
            </a:r>
          </a:p>
          <a:p>
            <a:r>
              <a:rPr lang="en-US">
                <a:solidFill>
                  <a:srgbClr val="FFFFFF"/>
                </a:solidFill>
                <a:latin typeface="Arial"/>
              </a:rPr>
              <a:t>33.86cm x 19.05cm</a:t>
            </a:r>
            <a:endParaRPr lang="en-US" dirty="0">
              <a:solidFill>
                <a:srgbClr val="FFFFFF"/>
              </a:solidFill>
              <a:latin typeface="Arial"/>
            </a:endParaRPr>
          </a:p>
          <a:p>
            <a:endParaRPr lang="en-US" dirty="0">
              <a:solidFill>
                <a:srgbClr val="FFFFFF"/>
              </a:solidFill>
              <a:latin typeface="DIN Alternate" charset="0"/>
              <a:ea typeface="DIN Alternate" charset="0"/>
              <a:cs typeface="DIN Alternate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B2FBAA6-5CB6-3C45-B81E-CAAC972D65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1249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Image + Title Light">
    <p:bg>
      <p:bgPr>
        <a:solidFill>
          <a:schemeClr val="tx2"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3" y="0"/>
            <a:ext cx="12191999" cy="6858000"/>
          </a:xfrm>
          <a:solidFill>
            <a:schemeClr val="bg2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photo here</a:t>
            </a:r>
            <a:r>
              <a:rPr lang="en-US" dirty="0"/>
              <a:t>.</a:t>
            </a:r>
          </a:p>
          <a:p>
            <a:r>
              <a:rPr lang="en-US"/>
              <a:t>Image dimensions for perfect fit</a:t>
            </a:r>
            <a:r>
              <a:rPr lang="en-US" dirty="0"/>
              <a:t>:</a:t>
            </a:r>
          </a:p>
          <a:p>
            <a:r>
              <a:rPr lang="en-US"/>
              <a:t>33.86cm x 19.05cm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2001" cy="6858000"/>
          </a:xfrm>
          <a:prstGeom prst="parallelogram">
            <a:avLst>
              <a:gd name="adj" fmla="val 0"/>
            </a:avLst>
          </a:prstGeom>
          <a:solidFill>
            <a:schemeClr val="accent6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algn="ctr">
              <a:lnSpc>
                <a:spcPct val="70000"/>
              </a:lnSpc>
              <a:defRPr sz="8000" baseline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Full bleed image with title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" y="-675456"/>
            <a:ext cx="3384376" cy="589378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US">
                <a:solidFill>
                  <a:srgbClr val="FFFFFF"/>
                </a:solidFill>
                <a:latin typeface="Arial"/>
              </a:rPr>
              <a:t>Image dimensions for perfect fit</a:t>
            </a:r>
            <a:r>
              <a:rPr lang="en-US" dirty="0">
                <a:solidFill>
                  <a:srgbClr val="FFFFFF"/>
                </a:solidFill>
                <a:latin typeface="Arial"/>
              </a:rPr>
              <a:t>:</a:t>
            </a:r>
          </a:p>
          <a:p>
            <a:r>
              <a:rPr lang="en-US">
                <a:solidFill>
                  <a:srgbClr val="FFFFFF"/>
                </a:solidFill>
                <a:latin typeface="Arial"/>
              </a:rPr>
              <a:t>33.86cm x 19.05cm</a:t>
            </a:r>
            <a:endParaRPr lang="en-US" dirty="0">
              <a:solidFill>
                <a:srgbClr val="FFFFFF"/>
              </a:solidFill>
              <a:latin typeface="Arial"/>
            </a:endParaRPr>
          </a:p>
          <a:p>
            <a:endParaRPr lang="en-US" dirty="0">
              <a:solidFill>
                <a:srgbClr val="FFFFFF"/>
              </a:solidFill>
              <a:latin typeface="DIN Alternate" charset="0"/>
              <a:ea typeface="DIN Alternate" charset="0"/>
              <a:cs typeface="DIN Alternate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27A19FD-A695-8044-87D5-FF9C6DBC94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13B5792-49CA-A246-B7A0-CCADF40697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5448" y="6285800"/>
            <a:ext cx="2743200" cy="365125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83102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photo here</a:t>
            </a:r>
            <a:r>
              <a:rPr lang="en-US" dirty="0"/>
              <a:t>.</a:t>
            </a:r>
          </a:p>
          <a:p>
            <a:r>
              <a:rPr lang="en-US"/>
              <a:t>Image dimensions for perfect fit</a:t>
            </a:r>
            <a:r>
              <a:rPr lang="en-US" dirty="0"/>
              <a:t>:</a:t>
            </a:r>
          </a:p>
          <a:p>
            <a:r>
              <a:rPr lang="en-US"/>
              <a:t>33.86cm x 19.05cm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" y="-675456"/>
            <a:ext cx="3384376" cy="589378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t" anchorCtr="0">
            <a:noAutofit/>
          </a:bodyPr>
          <a:lstStyle/>
          <a:p>
            <a:r>
              <a:rPr lang="en-US">
                <a:solidFill>
                  <a:srgbClr val="FFFFFF"/>
                </a:solidFill>
                <a:latin typeface="Arial"/>
              </a:rPr>
              <a:t>Image dimensions for perfect fit</a:t>
            </a:r>
            <a:r>
              <a:rPr lang="en-US" dirty="0">
                <a:solidFill>
                  <a:srgbClr val="FFFFFF"/>
                </a:solidFill>
                <a:latin typeface="Arial"/>
              </a:rPr>
              <a:t>:</a:t>
            </a:r>
          </a:p>
          <a:p>
            <a:r>
              <a:rPr lang="en-US">
                <a:solidFill>
                  <a:srgbClr val="FFFFFF"/>
                </a:solidFill>
                <a:latin typeface="Arial"/>
              </a:rPr>
              <a:t>33.86cm x 19.05cm</a:t>
            </a:r>
            <a:endParaRPr lang="en-US" dirty="0">
              <a:solidFill>
                <a:srgbClr val="FFFFFF"/>
              </a:solidFill>
              <a:latin typeface="Arial"/>
            </a:endParaRPr>
          </a:p>
          <a:p>
            <a:endParaRPr lang="en-US" dirty="0">
              <a:solidFill>
                <a:srgbClr val="FFFFFF"/>
              </a:solidFill>
              <a:latin typeface="DIN Alternate" charset="0"/>
              <a:ea typeface="DIN Alternate" charset="0"/>
              <a:cs typeface="DIN Alternate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EB1F2F-901E-3E47-AD9C-1DBF9C6B0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999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Image + Sma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8887968" cy="6858000"/>
          </a:xfrm>
          <a:prstGeom prst="parallelogram">
            <a:avLst>
              <a:gd name="adj" fmla="val 0"/>
            </a:avLst>
          </a:prstGeo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r">
              <a:defRPr baseline="0"/>
            </a:lvl1pPr>
          </a:lstStyle>
          <a:p>
            <a:r>
              <a:rPr lang="en-US"/>
              <a:t>Place picture here</a:t>
            </a:r>
            <a:r>
              <a:rPr lang="en-US" dirty="0"/>
              <a:t>.</a:t>
            </a:r>
          </a:p>
          <a:p>
            <a:r>
              <a:rPr lang="en-US"/>
              <a:t>Use this slide if photo is mostly light</a:t>
            </a:r>
            <a:r>
              <a:rPr lang="en-US" dirty="0"/>
              <a:t>.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9C83D4E-B2BE-1E41-8765-3B7EB76186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88290">
            <a:off x="9363131" y="5607539"/>
            <a:ext cx="5271454" cy="372507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5C14B4-8272-FE4E-8B02-57278A2880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478035">
            <a:off x="9530519" y="5683526"/>
            <a:ext cx="4587043" cy="324529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185448" y="1324149"/>
            <a:ext cx="2743200" cy="4962352"/>
          </a:xfrm>
        </p:spPr>
        <p:txBody>
          <a:bodyPr/>
          <a:lstStyle>
            <a:lvl1pPr marL="92065" indent="0">
              <a:defRPr/>
            </a:lvl1pPr>
          </a:lstStyle>
          <a:p>
            <a:pPr lvl="0"/>
            <a:r>
              <a:rPr lang="en-US" dirty="0"/>
              <a:t>Use this slide if you want to use a  image with a little bit of content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B2DFD3-78FF-F24D-85EF-582F3BF10A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950" y="5903179"/>
            <a:ext cx="1383631" cy="644922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63352" y="-1416"/>
            <a:ext cx="2376000" cy="1368000"/>
          </a:xfrm>
          <a:prstGeom prst="rect">
            <a:avLst/>
          </a:prstGeom>
          <a:noFill/>
        </p:spPr>
        <p:txBody>
          <a:bodyPr lIns="0" tIns="0" rIns="431952" bIns="0">
            <a:noAutofit/>
          </a:bodyPr>
          <a:lstStyle>
            <a:lvl1pPr algn="l">
              <a:defRPr sz="2000"/>
            </a:lvl1pPr>
          </a:lstStyle>
          <a:p>
            <a:r>
              <a:rPr lang="en-US" dirty="0"/>
              <a:t>Main content slide. Put your slide title here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D20F22C-71E5-B840-A5DD-E1CD17C48CCF}"/>
              </a:ext>
            </a:extLst>
          </p:cNvPr>
          <p:cNvSpPr/>
          <p:nvPr userDrawn="1"/>
        </p:nvSpPr>
        <p:spPr>
          <a:xfrm>
            <a:off x="17181607" y="-1483177"/>
            <a:ext cx="4924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big</a:t>
            </a:r>
          </a:p>
        </p:txBody>
      </p:sp>
    </p:spTree>
    <p:extLst>
      <p:ext uri="{BB962C8B-B14F-4D97-AF65-F5344CB8AC3E}">
        <p14:creationId xmlns:p14="http://schemas.microsoft.com/office/powerpoint/2010/main" val="18006044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21E1C13-7461-4348-8B4A-7D28619533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696575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" name="think-cell Slide" r:id="rId25" imgW="503" imgH="503" progId="TCLayout.ActiveDocument.1">
                  <p:embed/>
                </p:oleObj>
              </mc:Choice>
              <mc:Fallback>
                <p:oleObj name="think-cell Slide" r:id="rId25" imgW="503" imgH="5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775949D-95E6-4BF1-BDF3-87C353AB6073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Nexa Light" panose="02000000000000000000"/>
              <a:sym typeface="Nexa Light" panose="0200000000000000000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Title style: </a:t>
            </a:r>
            <a:r>
              <a:rPr lang="en-US" dirty="0" err="1"/>
              <a:t>Nexa</a:t>
            </a:r>
            <a:r>
              <a:rPr lang="en-US" dirty="0"/>
              <a:t> Ligh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85448" y="6285800"/>
            <a:ext cx="2743200" cy="365125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1200">
                <a:ln>
                  <a:noFill/>
                </a:ln>
                <a:solidFill>
                  <a:schemeClr val="accent5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C3225D-D408-5843-A21A-C168DB0148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1090448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srgbClr val="000000">
                    <a:tint val="75000"/>
                  </a:srgbClr>
                </a:solidFill>
                <a:latin typeface="Arial"/>
              </a:rPr>
              <a:t> </a:t>
            </a:r>
            <a:endParaRPr lang="en-US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23255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92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  <p:sldLayoutId id="2147483691" r:id="rId20"/>
  </p:sldLayoutIdLst>
  <p:hf hdr="0" dt="0"/>
  <p:txStyles>
    <p:titleStyle>
      <a:lvl1pPr algn="l" defTabSz="914300" rtl="0" eaLnBrk="1" latinLnBrk="0" hangingPunct="1">
        <a:lnSpc>
          <a:spcPct val="90000"/>
        </a:lnSpc>
        <a:spcBef>
          <a:spcPct val="0"/>
        </a:spcBef>
        <a:buNone/>
        <a:defRPr sz="6000" b="0" kern="1200">
          <a:solidFill>
            <a:schemeClr val="tx1"/>
          </a:solidFill>
          <a:latin typeface="Nexa Light" panose="02000000000000000000" pitchFamily="2" charset="0"/>
          <a:ea typeface="Nexa Light" panose="02000000000000000000" pitchFamily="2" charset="0"/>
          <a:cs typeface="Nexa Light" panose="02000000000000000000" pitchFamily="2" charset="0"/>
        </a:defRPr>
      </a:lvl1pPr>
    </p:titleStyle>
    <p:bodyStyle>
      <a:lvl1pPr marL="92065" indent="0" algn="l" defTabSz="914300" rtl="0" eaLnBrk="1" latinLnBrk="0" hangingPunct="1">
        <a:lnSpc>
          <a:spcPct val="90000"/>
        </a:lnSpc>
        <a:spcBef>
          <a:spcPts val="1000"/>
        </a:spcBef>
        <a:buFont typeface="Arial" charset="0"/>
        <a:buNone/>
        <a:defRPr sz="2000" kern="1200" baseline="0">
          <a:solidFill>
            <a:schemeClr val="tx1"/>
          </a:solidFill>
          <a:latin typeface="+mj-lt"/>
          <a:ea typeface="DIN Alternate" charset="0"/>
          <a:cs typeface="DIN Alternate" charset="0"/>
        </a:defRPr>
      </a:lvl1pPr>
      <a:lvl2pPr marL="457150" indent="0" algn="l" defTabSz="9143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kern="1200">
          <a:solidFill>
            <a:schemeClr val="tx1"/>
          </a:solidFill>
          <a:latin typeface="+mj-lt"/>
          <a:ea typeface="DIN Alternate" charset="0"/>
          <a:cs typeface="DIN Alternate" charset="0"/>
        </a:defRPr>
      </a:lvl2pPr>
      <a:lvl3pPr marL="914300" indent="0" algn="l" defTabSz="914300" rtl="0" eaLnBrk="1" latinLnBrk="0" hangingPunct="1">
        <a:lnSpc>
          <a:spcPct val="90000"/>
        </a:lnSpc>
        <a:spcBef>
          <a:spcPts val="500"/>
        </a:spcBef>
        <a:buFont typeface="Arial"/>
        <a:buNone/>
        <a:defRPr sz="1600" kern="1200">
          <a:solidFill>
            <a:schemeClr val="tx1"/>
          </a:solidFill>
          <a:latin typeface="+mj-lt"/>
          <a:ea typeface="DIN Alternate" charset="0"/>
          <a:cs typeface="DIN Alternate" charset="0"/>
        </a:defRPr>
      </a:lvl3pPr>
      <a:lvl4pPr marL="1371450" indent="0" algn="l" defTabSz="914300" rtl="0" eaLnBrk="1" latinLnBrk="0" hangingPunct="1">
        <a:lnSpc>
          <a:spcPct val="90000"/>
        </a:lnSpc>
        <a:spcBef>
          <a:spcPts val="500"/>
        </a:spcBef>
        <a:buFont typeface="Arial"/>
        <a:buNone/>
        <a:defRPr sz="1400" kern="1200">
          <a:solidFill>
            <a:schemeClr val="tx1"/>
          </a:solidFill>
          <a:latin typeface="+mj-lt"/>
          <a:ea typeface="DIN Alternate" charset="0"/>
          <a:cs typeface="DIN Alternate" charset="0"/>
        </a:defRPr>
      </a:lvl4pPr>
      <a:lvl5pPr marL="1828601" indent="0" algn="l" defTabSz="914300" rtl="0" eaLnBrk="1" latinLnBrk="0" hangingPunct="1">
        <a:lnSpc>
          <a:spcPct val="90000"/>
        </a:lnSpc>
        <a:spcBef>
          <a:spcPts val="500"/>
        </a:spcBef>
        <a:buFont typeface="Arial"/>
        <a:buNone/>
        <a:defRPr sz="1400" kern="1200">
          <a:solidFill>
            <a:schemeClr val="tx1"/>
          </a:solidFill>
          <a:latin typeface="+mj-lt"/>
          <a:ea typeface="DIN Alternate" charset="0"/>
          <a:cs typeface="DIN Alternate" charset="0"/>
        </a:defRPr>
      </a:lvl5pPr>
      <a:lvl6pPr marL="2514326" indent="-228575" algn="l" defTabSz="9143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76" indent="-228575" algn="l" defTabSz="9143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26" indent="-228575" algn="l" defTabSz="9143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77" indent="-228575" algn="l" defTabSz="9143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1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1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1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52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02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7.xml"/><Relationship Id="rId7" Type="http://schemas.openxmlformats.org/officeDocument/2006/relationships/chart" Target="../charts/char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9.xml"/><Relationship Id="rId7" Type="http://schemas.openxmlformats.org/officeDocument/2006/relationships/chart" Target="../charts/char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9DDEED-239C-4AB4-B934-F8728F80D8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8245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8" name="think-cell Slide" r:id="rId6" imgW="503" imgH="503" progId="TCLayout.ActiveDocument.1">
                  <p:embed/>
                </p:oleObj>
              </mc:Choice>
              <mc:Fallback>
                <p:oleObj name="think-cell Slide" r:id="rId6" imgW="503" imgH="5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A2559E9-173D-457F-9811-D110C06C9F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5400" dirty="0">
              <a:latin typeface="Nexa Light" panose="02000000000000000000"/>
              <a:sym typeface="Nexa Light" panose="0200000000000000000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7AF363-B327-1548-860D-5D884696345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Mortgage Broker Tools</a:t>
            </a:r>
            <a:br>
              <a:rPr lang="en-GB" dirty="0"/>
            </a:br>
            <a:r>
              <a:rPr lang="en-GB" dirty="0"/>
              <a:t>Affordability Inde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1593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CAF412-6214-4194-8305-1BF7D07686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30"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CAF412-6214-4194-8305-1BF7D0768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0C1BD66-925A-4F7A-937B-7191851AEB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800" dirty="0">
              <a:latin typeface="Nexa Light" panose="02000000000000000000"/>
              <a:sym typeface="Nexa Light" panose="0200000000000000000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C4A3D5-EA44-4AB2-A87A-2911A3BA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3225D-D408-5843-A21A-C168DB0148A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5FBB28A-3B7F-47FC-AF87-BD8BD3183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107" y="-1416"/>
            <a:ext cx="10805519" cy="1368000"/>
          </a:xfrm>
        </p:spPr>
        <p:txBody>
          <a:bodyPr/>
          <a:lstStyle/>
          <a:p>
            <a:r>
              <a:rPr lang="en-US" sz="4800">
                <a:solidFill>
                  <a:schemeClr val="tx2"/>
                </a:solidFill>
              </a:rPr>
              <a:t>Whole of Market</a:t>
            </a:r>
            <a:endParaRPr lang="en-IN" sz="4800" dirty="0"/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DA31B045-090A-492E-AEBF-2D143AC139E8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557636171"/>
              </p:ext>
            </p:extLst>
          </p:nvPr>
        </p:nvGraphicFramePr>
        <p:xfrm>
          <a:off x="553271" y="1434691"/>
          <a:ext cx="5181600" cy="456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Content Placeholder 15">
            <a:extLst>
              <a:ext uri="{FF2B5EF4-FFF2-40B4-BE49-F238E27FC236}">
                <a16:creationId xmlns:a16="http://schemas.microsoft.com/office/drawing/2014/main" id="{8FD46A9C-9CBB-4E69-9876-CCF6B42C82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2897001"/>
              </p:ext>
            </p:extLst>
          </p:nvPr>
        </p:nvGraphicFramePr>
        <p:xfrm>
          <a:off x="5887271" y="1434691"/>
          <a:ext cx="5181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227041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CAF412-6214-4194-8305-1BF7D07686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87"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CAF412-6214-4194-8305-1BF7D0768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0C1BD66-925A-4F7A-937B-7191851AEB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800" dirty="0">
              <a:latin typeface="Nexa Light" panose="02000000000000000000"/>
              <a:sym typeface="Nexa Light" panose="0200000000000000000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C4A3D5-EA44-4AB2-A87A-2911A3BA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3225D-D408-5843-A21A-C168DB0148A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5FBB28A-3B7F-47FC-AF87-BD8BD3183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107" y="-1416"/>
            <a:ext cx="10805519" cy="1368000"/>
          </a:xfrm>
        </p:spPr>
        <p:txBody>
          <a:bodyPr/>
          <a:lstStyle/>
          <a:p>
            <a:r>
              <a:rPr lang="en-US" sz="4800" dirty="0">
                <a:solidFill>
                  <a:schemeClr val="tx2"/>
                </a:solidFill>
              </a:rPr>
              <a:t>Self employed</a:t>
            </a:r>
            <a:endParaRPr lang="en-IN" sz="4800" dirty="0"/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DA31B045-090A-492E-AEBF-2D143AC139E8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5420495"/>
              </p:ext>
            </p:extLst>
          </p:nvPr>
        </p:nvGraphicFramePr>
        <p:xfrm>
          <a:off x="553271" y="1434691"/>
          <a:ext cx="5181600" cy="456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Content Placeholder 15">
            <a:extLst>
              <a:ext uri="{FF2B5EF4-FFF2-40B4-BE49-F238E27FC236}">
                <a16:creationId xmlns:a16="http://schemas.microsoft.com/office/drawing/2014/main" id="{8FD46A9C-9CBB-4E69-9876-CCF6B42C82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5471853"/>
              </p:ext>
            </p:extLst>
          </p:nvPr>
        </p:nvGraphicFramePr>
        <p:xfrm>
          <a:off x="5887271" y="1434691"/>
          <a:ext cx="5181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6038204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5377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3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1qqgrHlFg6.XpIs1oJ.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racNb73W6pGYOvqgtp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YvWN1faLBtx4saekr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YYvWN1faLBtx4saekrkg"/>
</p:tagLst>
</file>

<file path=ppt/theme/theme1.xml><?xml version="1.0" encoding="utf-8"?>
<a:theme xmlns:a="http://schemas.openxmlformats.org/drawingml/2006/main" name="1_Office Theme">
  <a:themeElements>
    <a:clrScheme name="MBT">
      <a:dk1>
        <a:srgbClr val="5B5B5B"/>
      </a:dk1>
      <a:lt1>
        <a:srgbClr val="FFFFFF"/>
      </a:lt1>
      <a:dk2>
        <a:srgbClr val="08305C"/>
      </a:dk2>
      <a:lt2>
        <a:srgbClr val="E7E6E6"/>
      </a:lt2>
      <a:accent1>
        <a:srgbClr val="F39B48"/>
      </a:accent1>
      <a:accent2>
        <a:srgbClr val="3BABD1"/>
      </a:accent2>
      <a:accent3>
        <a:srgbClr val="467F6C"/>
      </a:accent3>
      <a:accent4>
        <a:srgbClr val="B3D08C"/>
      </a:accent4>
      <a:accent5>
        <a:srgbClr val="073B40"/>
      </a:accent5>
      <a:accent6>
        <a:srgbClr val="E3CEA2"/>
      </a:accent6>
      <a:hlink>
        <a:srgbClr val="B93047"/>
      </a:hlink>
      <a:folHlink>
        <a:srgbClr val="736BA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 anchor="t" anchorCtr="0">
        <a:noAutofit/>
      </a:bodyPr>
      <a:lstStyle>
        <a:defPPr>
          <a:defRPr>
            <a:solidFill>
              <a:schemeClr val="bg1"/>
            </a:solidFill>
            <a:latin typeface="DIN Alternate" charset="0"/>
            <a:ea typeface="DIN Alternate" charset="0"/>
            <a:cs typeface="DIN Alternate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104</TotalTime>
  <Words>45</Words>
  <Application>Microsoft Macintosh PowerPoint</Application>
  <PresentationFormat>Widescreen</PresentationFormat>
  <Paragraphs>13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DIN Alternate</vt:lpstr>
      <vt:lpstr>Nexa Light</vt:lpstr>
      <vt:lpstr>1_Office Theme</vt:lpstr>
      <vt:lpstr>think-cell Slide</vt:lpstr>
      <vt:lpstr>Mortgage Broker Tools Affordability Index</vt:lpstr>
      <vt:lpstr>Whole of Market</vt:lpstr>
      <vt:lpstr>Self employed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mes  Trezona</dc:creator>
  <cp:lastModifiedBy>Alex Hammond</cp:lastModifiedBy>
  <cp:revision>428</cp:revision>
  <cp:lastPrinted>2018-10-12T09:24:54Z</cp:lastPrinted>
  <dcterms:created xsi:type="dcterms:W3CDTF">2018-02-04T20:18:42Z</dcterms:created>
  <dcterms:modified xsi:type="dcterms:W3CDTF">2021-03-09T20:42:57Z</dcterms:modified>
</cp:coreProperties>
</file>